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ags/tag6.xml" ContentType="application/vnd.openxmlformats-officedocument.presentationml.tags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ags/tag7.xml" ContentType="application/vnd.openxmlformats-officedocument.presentationml.tags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ags/tag8.xml" ContentType="application/vnd.openxmlformats-officedocument.presentationml.tags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ags/tag9.xml" ContentType="application/vnd.openxmlformats-officedocument.presentationml.tags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9"/>
  </p:notesMasterIdLst>
  <p:sldIdLst>
    <p:sldId id="256" r:id="rId2"/>
    <p:sldId id="314" r:id="rId3"/>
    <p:sldId id="311" r:id="rId4"/>
    <p:sldId id="312" r:id="rId5"/>
    <p:sldId id="315" r:id="rId6"/>
    <p:sldId id="430" r:id="rId7"/>
    <p:sldId id="456" r:id="rId8"/>
    <p:sldId id="457" r:id="rId9"/>
    <p:sldId id="458" r:id="rId10"/>
    <p:sldId id="459" r:id="rId11"/>
    <p:sldId id="460" r:id="rId12"/>
    <p:sldId id="461" r:id="rId13"/>
    <p:sldId id="462" r:id="rId14"/>
    <p:sldId id="463" r:id="rId15"/>
    <p:sldId id="464" r:id="rId16"/>
    <p:sldId id="466" r:id="rId17"/>
    <p:sldId id="467" r:id="rId18"/>
    <p:sldId id="468" r:id="rId19"/>
    <p:sldId id="469" r:id="rId20"/>
    <p:sldId id="470" r:id="rId21"/>
    <p:sldId id="471" r:id="rId22"/>
    <p:sldId id="472" r:id="rId23"/>
    <p:sldId id="473" r:id="rId24"/>
    <p:sldId id="474" r:id="rId25"/>
    <p:sldId id="475" r:id="rId26"/>
    <p:sldId id="476" r:id="rId27"/>
    <p:sldId id="477" r:id="rId28"/>
    <p:sldId id="478" r:id="rId29"/>
    <p:sldId id="479" r:id="rId30"/>
    <p:sldId id="480" r:id="rId31"/>
    <p:sldId id="481" r:id="rId32"/>
    <p:sldId id="482" r:id="rId33"/>
    <p:sldId id="483" r:id="rId34"/>
    <p:sldId id="484" r:id="rId35"/>
    <p:sldId id="485" r:id="rId36"/>
    <p:sldId id="487" r:id="rId37"/>
    <p:sldId id="488" r:id="rId38"/>
    <p:sldId id="489" r:id="rId39"/>
    <p:sldId id="490" r:id="rId40"/>
    <p:sldId id="491" r:id="rId41"/>
    <p:sldId id="492" r:id="rId42"/>
    <p:sldId id="493" r:id="rId43"/>
    <p:sldId id="494" r:id="rId44"/>
    <p:sldId id="495" r:id="rId45"/>
    <p:sldId id="496" r:id="rId46"/>
    <p:sldId id="497" r:id="rId47"/>
    <p:sldId id="498" r:id="rId48"/>
    <p:sldId id="499" r:id="rId49"/>
    <p:sldId id="500" r:id="rId50"/>
    <p:sldId id="501" r:id="rId51"/>
    <p:sldId id="502" r:id="rId52"/>
    <p:sldId id="503" r:id="rId53"/>
    <p:sldId id="504" r:id="rId54"/>
    <p:sldId id="505" r:id="rId55"/>
    <p:sldId id="506" r:id="rId56"/>
    <p:sldId id="507" r:id="rId57"/>
    <p:sldId id="508" r:id="rId58"/>
    <p:sldId id="509" r:id="rId59"/>
    <p:sldId id="510" r:id="rId60"/>
    <p:sldId id="511" r:id="rId61"/>
    <p:sldId id="512" r:id="rId62"/>
    <p:sldId id="513" r:id="rId63"/>
    <p:sldId id="514" r:id="rId64"/>
    <p:sldId id="515" r:id="rId65"/>
    <p:sldId id="516" r:id="rId66"/>
    <p:sldId id="517" r:id="rId67"/>
    <p:sldId id="261" r:id="rId68"/>
  </p:sldIdLst>
  <p:sldSz cx="12192000" cy="6858000"/>
  <p:notesSz cx="6858000" cy="9144000"/>
  <p:custDataLst>
    <p:tags r:id="rId7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76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>
        <p:scale>
          <a:sx n="75" d="100"/>
          <a:sy n="75" d="100"/>
        </p:scale>
        <p:origin x="931" y="360"/>
      </p:cViewPr>
      <p:guideLst>
        <p:guide orient="horz" pos="2176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8414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5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2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5" Type="http://schemas.openxmlformats.org/officeDocument/2006/relationships/image" Target="../media/image80.png"/><Relationship Id="rId10" Type="http://schemas.openxmlformats.org/officeDocument/2006/relationships/image" Target="../media/image85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1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4.xml"/><Relationship Id="rId4" Type="http://schemas.openxmlformats.org/officeDocument/2006/relationships/image" Target="../media/image11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0.xml"/><Relationship Id="rId4" Type="http://schemas.openxmlformats.org/officeDocument/2006/relationships/image" Target="../media/image13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1.xml"/><Relationship Id="rId4" Type="http://schemas.openxmlformats.org/officeDocument/2006/relationships/image" Target="../media/image13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2.xml"/><Relationship Id="rId4" Type="http://schemas.openxmlformats.org/officeDocument/2006/relationships/image" Target="../media/image13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3.xml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6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7.xml"/><Relationship Id="rId4" Type="http://schemas.openxmlformats.org/officeDocument/2006/relationships/image" Target="../media/image15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8.xml"/><Relationship Id="rId5" Type="http://schemas.openxmlformats.org/officeDocument/2006/relationships/image" Target="../media/image153.png"/><Relationship Id="rId4" Type="http://schemas.openxmlformats.org/officeDocument/2006/relationships/image" Target="../media/image152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0.xml"/><Relationship Id="rId4" Type="http://schemas.openxmlformats.org/officeDocument/2006/relationships/image" Target="../media/image15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2.xml"/><Relationship Id="rId4" Type="http://schemas.openxmlformats.org/officeDocument/2006/relationships/image" Target="../media/image15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3.xml"/><Relationship Id="rId4" Type="http://schemas.openxmlformats.org/officeDocument/2006/relationships/image" Target="../media/image16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4.xml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5.xml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171.png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9.xml"/><Relationship Id="rId4" Type="http://schemas.openxmlformats.org/officeDocument/2006/relationships/image" Target="../media/image17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0.xml"/><Relationship Id="rId5" Type="http://schemas.openxmlformats.org/officeDocument/2006/relationships/image" Target="../media/image181.png"/><Relationship Id="rId4" Type="http://schemas.openxmlformats.org/officeDocument/2006/relationships/image" Target="../media/image18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00100" y="1370965"/>
            <a:ext cx="18472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Master端操作如下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00100" y="1790065"/>
            <a:ext cx="57334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Redis主服务器上的redis.conf中修改bind字段，将以下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400" y="2209165"/>
            <a:ext cx="1495425" cy="1905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00100" y="2427605"/>
            <a:ext cx="2501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为Master端的主机IP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400" y="2764790"/>
            <a:ext cx="2505075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00100" y="3094990"/>
            <a:ext cx="1062926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如果Redis主服务器只绑定了127.0.0.1，那么跨服务器IP的访问就会失败，也就是只能本机才能访问，外部请求会被过滤，这是Linux的网络安全策略管理的。如果bind的IP地址只是192.168.11.10，那么本机通过localhost和127.0.0.1、或者直接输入命令redis-cli登录本机Redis也就会失败了。所以跨服务器访问Redis, 需要加上服务器IP才能访问到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00100" y="4241165"/>
            <a:ext cx="15392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Redis服务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00" y="4648200"/>
            <a:ext cx="3790950" cy="1809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8040" y="1370965"/>
            <a:ext cx="21748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lave1端操作如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828040" y="1708150"/>
            <a:ext cx="23717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 Redis的配置文件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625" y="2045335"/>
            <a:ext cx="3143250" cy="1619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828040" y="2207260"/>
            <a:ext cx="25482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Master端的IP与端口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70" y="2544445"/>
            <a:ext cx="2247900" cy="20002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828040" y="2754630"/>
            <a:ext cx="83312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 Mater端的IP(192.168.11.10)和端口(6379),中间用空格分隔，然后保存 redis.conf文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828040" y="3152775"/>
            <a:ext cx="35845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Slave1端(192.168.11.11)的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270" y="3550920"/>
            <a:ext cx="3810000" cy="18097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828040" y="3746500"/>
            <a:ext cx="21558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Slave1运行日志</a:t>
            </a:r>
          </a:p>
        </p:txBody>
      </p:sp>
      <p:pic>
        <p:nvPicPr>
          <p:cNvPr id="328" name="图片 3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0270" y="4138295"/>
            <a:ext cx="5274310" cy="107315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485890" y="3746500"/>
            <a:ext cx="16922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Master日志</a:t>
            </a:r>
          </a:p>
        </p:txBody>
      </p:sp>
      <p:pic>
        <p:nvPicPr>
          <p:cNvPr id="333" name="图片 3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5890" y="4138295"/>
            <a:ext cx="5274310" cy="9220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8040" y="1370965"/>
            <a:ext cx="21748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lave2端操作如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828040" y="1680845"/>
            <a:ext cx="47180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 Redis的配置文件</a:t>
            </a:r>
            <a:r>
              <a:rPr lang="zh-CN" altLang="en-US" sz="1600">
                <a:sym typeface="+mn-ea"/>
              </a:rPr>
              <a:t>，</a:t>
            </a:r>
            <a:r>
              <a:rPr lang="en-US" sz="1600">
                <a:sym typeface="+mn-ea"/>
              </a:rPr>
              <a:t>添加Master端的IP与端口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70" y="2245995"/>
            <a:ext cx="3200400" cy="3810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28040" y="2626995"/>
            <a:ext cx="833120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 Mater端的IP(192.168.1.10)和端口(6379),中间用空格分隔，然后保存 redis.conf文件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Slave2端(192.168.11.12)的Redis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70" y="3456940"/>
            <a:ext cx="372427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90270" y="3628390"/>
            <a:ext cx="20250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Slave2运行日志</a:t>
            </a:r>
          </a:p>
        </p:txBody>
      </p:sp>
      <p:pic>
        <p:nvPicPr>
          <p:cNvPr id="335" name="图片 3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270" y="4088448"/>
            <a:ext cx="5274310" cy="103568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28040" y="5264785"/>
            <a:ext cx="9414510" cy="681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结果与Slave1类似，只不过Slave2与Slave1（192.168.11.11:6379）建立连接，在同步数据中，Redis的主从级联复制便是这样，Master -&gt; Slave1 -&gt; Slave2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1649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680845"/>
            <a:ext cx="104705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在主节点(192.168.11.10)输入info replication命令查看节点角色会发现角色是Master有2个从节点Slave1(192.168.11.11)和Slave2(192.168.11.12)，如下图所示。</a:t>
            </a:r>
          </a:p>
        </p:txBody>
      </p:sp>
      <p:pic>
        <p:nvPicPr>
          <p:cNvPr id="336" name="图片 3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485" y="2625090"/>
            <a:ext cx="3970020" cy="160782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69925" y="4232910"/>
            <a:ext cx="106292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在info replication命令的返回信息中“slave0:ip=192.168.11.11,port=6379,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tate=online,offset=1681,lag=0”，表示slave0是个Slave从节点，使用的ip是192.168.11.11，port是6379, state是online在线状态，这里的slave0对应上一节中配置的Slave1从节点, 同理在返回信息中的slave1对应上一节中配置的Slave2从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023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708150"/>
            <a:ext cx="1035812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(192.168.11.11)输入info replication命令查看节点角色，会发现节点角色是Slave,它的主节点IP是 192.168.11.10，端口是6379。</a:t>
            </a:r>
          </a:p>
        </p:txBody>
      </p:sp>
      <p:pic>
        <p:nvPicPr>
          <p:cNvPr id="337" name="图片 3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120" y="2762250"/>
            <a:ext cx="3444240" cy="21031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023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708150"/>
            <a:ext cx="1035812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(192.168.11.12)输入info replication命令查看节点角色，也会发现节点角色是Slave,它的主节点IP是 192.168.11.10，端口是6379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915" y="2771775"/>
            <a:ext cx="3421380" cy="2095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20999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测试主从读写分离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708150"/>
            <a:ext cx="46761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Master端操作如下，然后客户端验证同步结果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570" y="2045335"/>
            <a:ext cx="3124200" cy="7048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69925" y="2750185"/>
            <a:ext cx="25279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Slave1端验证同步结果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570" y="3087370"/>
            <a:ext cx="4286250" cy="10668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89610" y="4154170"/>
            <a:ext cx="25082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Slave2端验证同步结果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570" y="4466590"/>
            <a:ext cx="4438650" cy="10572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5558155"/>
            <a:ext cx="843407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只能在主节点执行写操作，在从节点执行写操作会报异常(error) READONLY You can't write against a read only replica.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20999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 测试主</a:t>
            </a:r>
            <a:r>
              <a:rPr lang="zh-CN" altLang="en-US" sz="1600">
                <a:sym typeface="+mn-ea"/>
              </a:rPr>
              <a:t>节点宕机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680845"/>
            <a:ext cx="73526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本实验测试当Master(主节点)挂掉，两个Slave(从节点)的角色会发生变化吗？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69925" y="2018030"/>
            <a:ext cx="6393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首先，在主节点使用shutdown命令，模拟机器故障停止主节点的服务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160" y="2355215"/>
            <a:ext cx="4181475" cy="3714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669925" y="2726690"/>
            <a:ext cx="107537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，在从节点使用info replication命令查看角色，从下图中可以看出当主节点挂掉后，从节点的角色没有发生改变还是Slave, 不过master_link_status的状态变为down,意味着此时从节点只能执行读取命令操作，无法承担起主节点的任务，在从节点只能执行读操作。</a:t>
            </a: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7290" y="3556635"/>
            <a:ext cx="3168015" cy="2028190"/>
          </a:xfrm>
          <a:prstGeom prst="rect">
            <a:avLst/>
          </a:prstGeom>
        </p:spPr>
      </p:pic>
      <p:pic>
        <p:nvPicPr>
          <p:cNvPr id="60" name="图片 6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0920" y="3556635"/>
            <a:ext cx="3223260" cy="20224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69925" y="5579110"/>
            <a:ext cx="107537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通过主从配置的实验，我们可以看出Master(主节点) 只有一个，一旦主节点挂掉之后，从节点没法担起主节点的任务，那么整个系统也无法运行。如果主节点挂掉之后，从节点能够自动变成主节点，那么问题就解决了，于是哨兵模式诞生了，这就是我们下一节主要讨论的内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55625" y="1064895"/>
            <a:ext cx="36722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灾备切换 Sentinel 的使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69925" y="1525270"/>
            <a:ext cx="1084453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在2.6版本开始提供了哨兵模式，到Redis的2.8版本以后该模式正式稳定。Sentinel（哨兵）进程监控Redis集群中Master主服务器工作的状态，在Master发生故障的时候，可以实现Master和Slave的切换，保证系统的高可用。哨兵机制的出现是为了解决主从复制的缺点的，如下图所示</a:t>
            </a:r>
          </a:p>
        </p:txBody>
      </p:sp>
      <p:pic>
        <p:nvPicPr>
          <p:cNvPr id="97" name="图片 9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23315" y="2354898"/>
            <a:ext cx="5274310" cy="3696335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56920" y="1048385"/>
            <a:ext cx="476567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哨兵模式的基本概念：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主节点: Redis的主数据库，写入都在这个节点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节点: Redis的从数据库，读取都在这个节点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entinel节点：哨兵节点，监控各个节点的状态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6920" y="2616835"/>
            <a:ext cx="37598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基于哨兵模式的高可用架构图如下所示。</a:t>
            </a:r>
          </a:p>
        </p:txBody>
      </p:sp>
      <p:pic>
        <p:nvPicPr>
          <p:cNvPr id="79" name="图片 7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16760" y="2953703"/>
            <a:ext cx="2679700" cy="308292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5146040" y="3525838"/>
            <a:ext cx="50800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这个架构中，复制主要是讲主节点的数据同步到从节点，这样做的主要原因有两个：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. 一旦主节点挂机了，从节点可以作为主节点的备份随时成为新的主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. 从节点可以作为主节点分担读的压力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56920" y="1048385"/>
            <a:ext cx="10477500" cy="2291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哨兵进程的作用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) 监控（Monitoring）：哨兵进程会不断地检查Master和Slave是否运作正常。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) 提醒（Notification）：当被监控的某个Redis节点出现问题时，哨兵(sentinel) 可以通过 API 向管理员或者其他应用程序发送通知。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) 自动故障迁移（Automatic failover）：当一个Master不能正常工作时，哨兵会开始一次自动故障迁移操作，它会将失效Master的其中一个Slave升级为新的Master，并让失效Master的其他Slave改为复制新的Master。当客户端试图连接失效的Master时，集群也会向客户端返回新Master的地址，使得集群可以使用现在的Master替换失效Master。如下图所示：</a:t>
            </a:r>
          </a:p>
        </p:txBody>
      </p:sp>
      <p:pic>
        <p:nvPicPr>
          <p:cNvPr id="11270" name="图片 112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370" y="3175635"/>
            <a:ext cx="4032885" cy="212661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6920" y="5443855"/>
            <a:ext cx="94532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) 配置提供者：在哨兵模式下，客户端应用在初始化时连接的是哨兵节点集合，从中获取主节点的信息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967855" y="3455035"/>
            <a:ext cx="42665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部署技巧</a:t>
            </a:r>
            <a:r>
              <a:rPr lang="zh-CN" altLang="en-US" sz="1600">
                <a:sym typeface="+mn-ea"/>
              </a:rPr>
              <a:t>：</a:t>
            </a:r>
            <a:endParaRPr lang="en-US" sz="1600">
              <a:sym typeface="+mn-ea"/>
            </a:endParaRP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在生产环境中Sentinel节点不应该部署在一台物理“机器”上。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在生产环境中部署至少三个且奇数个的Sentinel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455420"/>
            <a:ext cx="8369300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本节我们配置一个 Master和两个Slave，将在一台服务器上部署Redis服务器和Sentinel实例</a:t>
            </a:r>
            <a:r>
              <a:rPr lang="zh-CN" altLang="en-US" sz="1600">
                <a:sym typeface="+mn-ea"/>
              </a:rPr>
              <a:t>，</a:t>
            </a:r>
            <a:endParaRPr lang="en-US" sz="1600">
              <a:sym typeface="+mn-ea"/>
            </a:endParaRP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IP地址和端口号如下所示</a:t>
            </a:r>
            <a:r>
              <a:rPr lang="zh-CN" altLang="en-US" sz="1600">
                <a:sym typeface="+mn-ea"/>
              </a:rPr>
              <a:t>：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2"/>
            </p:custDataLst>
          </p:nvPr>
        </p:nvGraphicFramePr>
        <p:xfrm>
          <a:off x="1162367" y="2115820"/>
          <a:ext cx="5265738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6038"/>
                <a:gridCol w="1316037"/>
                <a:gridCol w="1317625"/>
                <a:gridCol w="1316038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0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92.168.11.13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Master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alve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lave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80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8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3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669925" y="3395980"/>
            <a:ext cx="22644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实验的架构图如下所示</a:t>
            </a:r>
          </a:p>
        </p:txBody>
      </p:sp>
      <p:pic>
        <p:nvPicPr>
          <p:cNvPr id="347" name="图片 3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9500" y="3733165"/>
            <a:ext cx="3709035" cy="25393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1948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步：安装Redis 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862455"/>
            <a:ext cx="43719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首先，安装gcc基础依赖包，使用如下命令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560" y="2199640"/>
            <a:ext cx="1885950" cy="2095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9925" y="2409190"/>
            <a:ext cx="22726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, 下载Redis 并解压缩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560" y="2746375"/>
            <a:ext cx="4543425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924560" y="2955925"/>
            <a:ext cx="20358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解压缩Redis压缩包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560" y="3274060"/>
            <a:ext cx="2619375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924560" y="3461385"/>
            <a:ext cx="19754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进入解压后的目录。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560" y="3811270"/>
            <a:ext cx="1752600" cy="1714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924560" y="3995420"/>
            <a:ext cx="31381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make命令编译Redis源文件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4560" y="4319905"/>
            <a:ext cx="108585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24560" y="4500880"/>
            <a:ext cx="23856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编译成功后，安装Redis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560" y="4815205"/>
            <a:ext cx="3228975" cy="2000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924560" y="5006340"/>
            <a:ext cx="473837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安装成功后，需要对Redis进行部署，把Redis的配置文件 sentinel.conf拷贝到 “/usr/local/redis/conf”目录下。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4560" y="5829935"/>
            <a:ext cx="3314700" cy="34290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491605" y="1862455"/>
            <a:ext cx="2118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配置Redis的命令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6793230" y="2199640"/>
            <a:ext cx="47047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最后需要将Redis的命令所在目录添加到系统参数PATH中,修改/etc/profile文件。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2925" y="2746375"/>
            <a:ext cx="1800225" cy="190500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6892925" y="2955925"/>
            <a:ext cx="39249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etc/profile文件最后一行添加以下内容。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92925" y="3274060"/>
            <a:ext cx="3171825" cy="180975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6892925" y="3465830"/>
            <a:ext cx="4615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使用source 命令使 /etc/profile这个文件生效。</a:t>
            </a: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92925" y="3792220"/>
            <a:ext cx="1971675" cy="180975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892925" y="3975735"/>
            <a:ext cx="4406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至此，Redis 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1108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二</a:t>
            </a:r>
            <a:r>
              <a:rPr lang="en-US" sz="1600">
                <a:sym typeface="+mn-ea"/>
              </a:rPr>
              <a:t>步：主从节点的安装和配置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862455"/>
            <a:ext cx="49485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usr/local下创建文件夹redis-sential 使用如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350" y="2199640"/>
            <a:ext cx="2914650" cy="3429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69925" y="2542540"/>
            <a:ext cx="16592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安装主节点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997585" y="2879725"/>
            <a:ext cx="14503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建立配置目录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050" y="3155315"/>
            <a:ext cx="2647950" cy="371475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997585" y="3529965"/>
            <a:ext cx="37420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主节点的配置文件redis-7000.conf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050" y="3854450"/>
            <a:ext cx="1905000" cy="180975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997585" y="4035425"/>
            <a:ext cx="35052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主节点的配置文件中添加以下内容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5050" y="4363085"/>
            <a:ext cx="2724150" cy="885825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6066790" y="1525270"/>
            <a:ext cx="15633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，创建从节点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390005" y="1862455"/>
            <a:ext cx="36810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从节点的配置文件redis-7001.conf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7635" y="2199640"/>
            <a:ext cx="1895475" cy="161925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6390005" y="2361565"/>
            <a:ext cx="2070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节点添加以下内容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7635" y="2698750"/>
            <a:ext cx="2809875" cy="1085850"/>
          </a:xfrm>
          <a:prstGeom prst="rect">
            <a:avLst/>
          </a:prstGeom>
        </p:spPr>
      </p:pic>
      <p:sp>
        <p:nvSpPr>
          <p:cNvPr id="32" name="文本框 31"/>
          <p:cNvSpPr txBox="1"/>
          <p:nvPr/>
        </p:nvSpPr>
        <p:spPr>
          <a:xfrm>
            <a:off x="6390005" y="3784600"/>
            <a:ext cx="36366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从节点的配置文件redis-7002.conf</a:t>
            </a: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7635" y="4121785"/>
            <a:ext cx="1952625" cy="190500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7635" y="4780915"/>
            <a:ext cx="2600325" cy="1057275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6390005" y="4378325"/>
            <a:ext cx="34575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的配置文件中添加以下内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88670" y="1921510"/>
            <a:ext cx="482473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entinel 是特殊的Redis，Sentinel主要是监控故障转移和通知。Sentinel默认端口是26379。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788670" y="2515870"/>
            <a:ext cx="27616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拷贝sentinel.conf到指定目录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315" y="2863850"/>
            <a:ext cx="4924425" cy="200025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788670" y="3074670"/>
            <a:ext cx="32880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将配置文件所有的空行和注释去掉</a:t>
            </a: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315" y="3389630"/>
            <a:ext cx="5267325" cy="200025"/>
          </a:xfrm>
          <a:prstGeom prst="rect">
            <a:avLst/>
          </a:prstGeom>
        </p:spPr>
      </p:pic>
      <p:sp>
        <p:nvSpPr>
          <p:cNvPr id="37" name="文本框 36"/>
          <p:cNvSpPr txBox="1"/>
          <p:nvPr/>
        </p:nvSpPr>
        <p:spPr>
          <a:xfrm>
            <a:off x="788670" y="3589655"/>
            <a:ext cx="43294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配置文件发现所有的空格和注释都去掉了</a:t>
            </a: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315" y="3915410"/>
            <a:ext cx="4667250" cy="1076325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315" y="4961255"/>
            <a:ext cx="3752850" cy="885825"/>
          </a:xfrm>
          <a:prstGeom prst="rect">
            <a:avLst/>
          </a:prstGeom>
        </p:spPr>
      </p:pic>
      <p:sp>
        <p:nvSpPr>
          <p:cNvPr id="40" name="文本框 39"/>
          <p:cNvSpPr txBox="1"/>
          <p:nvPr/>
        </p:nvSpPr>
        <p:spPr>
          <a:xfrm>
            <a:off x="6548120" y="1525270"/>
            <a:ext cx="4152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对redis-sentinel-26379.conf进行修改</a:t>
            </a:r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8290" y="1862455"/>
            <a:ext cx="2676525" cy="200025"/>
          </a:xfrm>
          <a:prstGeom prst="rect">
            <a:avLst/>
          </a:prstGeom>
        </p:spPr>
      </p:pic>
      <p:sp>
        <p:nvSpPr>
          <p:cNvPr id="42" name="文本框 41"/>
          <p:cNvSpPr txBox="1"/>
          <p:nvPr/>
        </p:nvSpPr>
        <p:spPr>
          <a:xfrm>
            <a:off x="6548120" y="2062480"/>
            <a:ext cx="14065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8290" y="2399665"/>
            <a:ext cx="3800475" cy="1762125"/>
          </a:xfrm>
          <a:prstGeom prst="rect">
            <a:avLst/>
          </a:prstGeom>
        </p:spPr>
      </p:pic>
      <p:sp>
        <p:nvSpPr>
          <p:cNvPr id="44" name="文本框 43"/>
          <p:cNvSpPr txBox="1"/>
          <p:nvPr/>
        </p:nvSpPr>
        <p:spPr>
          <a:xfrm>
            <a:off x="6548120" y="4161790"/>
            <a:ext cx="26047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以下命令启动Sentinel</a:t>
            </a: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8290" y="4498975"/>
            <a:ext cx="3314700" cy="180975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6548120" y="4699000"/>
            <a:ext cx="37769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Sentinel进程，可以看出已经启动了</a:t>
            </a:r>
          </a:p>
        </p:txBody>
      </p:sp>
      <p:pic>
        <p:nvPicPr>
          <p:cNvPr id="47" name="图片 4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8290" y="5033645"/>
            <a:ext cx="5133975" cy="8667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34531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Sentinel节点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865" y="2199640"/>
            <a:ext cx="2162175" cy="1809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40410" y="2380615"/>
            <a:ext cx="14243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链接成功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865" y="2717800"/>
            <a:ext cx="3981450" cy="5334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40410" y="3267710"/>
            <a:ext cx="36201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输入info sentinel命令会返回如下信息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865" y="3588385"/>
            <a:ext cx="2524125" cy="6953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4865" y="4283710"/>
            <a:ext cx="5267325" cy="8858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747395" y="5154295"/>
            <a:ext cx="542290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看到有1个Master和2个Slave，只有一个Sentinel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还是查看redis-sentinel-26379.conf配置文件，在文件的最下面会发现多了四行内容，这是配置重写操作时产生的内容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60160" y="1209040"/>
            <a:ext cx="4667250" cy="1714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0160" y="1380490"/>
            <a:ext cx="4448175" cy="26860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246495" y="4066540"/>
            <a:ext cx="36455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根据这个配置文件在生成两个配置文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360160" y="4403725"/>
            <a:ext cx="41186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）生成redis-sentinel-26380.conf配置文件。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0160" y="4740910"/>
            <a:ext cx="5267325" cy="342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1407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785" y="2199640"/>
            <a:ext cx="3676650" cy="1771650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819785" y="4036695"/>
            <a:ext cx="41090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）生成redis-sentinel-26381.conf配置文件。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855" y="4439285"/>
            <a:ext cx="5276850" cy="36195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3556000" y="3302635"/>
            <a:ext cx="5080000" cy="25273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050" b="0">
                <a:latin typeface="Calibri" panose="020F0502020204030204" charset="0"/>
                <a:ea typeface="宋体" panose="02010600030101010101" pitchFamily="2" charset="-122"/>
              </a:rPr>
              <a:t>添加以下内容</a:t>
            </a:r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6548120" y="1064895"/>
            <a:ext cx="15030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9880" y="1402080"/>
            <a:ext cx="3771900" cy="1762125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604000" y="3164205"/>
            <a:ext cx="347154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entinel deny-scripts-reconfig yes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以下命令启动两个Sentinel节点。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5120" y="3747770"/>
            <a:ext cx="3400425" cy="38100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604000" y="4128770"/>
            <a:ext cx="24815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Sentinel节点的进程。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9880" y="4439285"/>
            <a:ext cx="5257800" cy="9048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39274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一个Sentinel节点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580" y="2199640"/>
            <a:ext cx="1924050" cy="1809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40410" y="2380615"/>
            <a:ext cx="14331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节点信息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580" y="2717800"/>
            <a:ext cx="5286375" cy="17811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40410" y="4498975"/>
            <a:ext cx="51409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看到sentinels有3个，至此Sentinel哨兵已经配置完成。使用redis-cli命令连接上主节点7000进行测试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580" y="5058410"/>
            <a:ext cx="3867150" cy="9048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477635" y="1880870"/>
            <a:ext cx="21501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连接上从节点7001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6535" y="2199640"/>
            <a:ext cx="3905250" cy="14097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20720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测试主从切换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525270"/>
            <a:ext cx="24390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 查看Redis集群信息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305" y="1862455"/>
            <a:ext cx="5276850" cy="14478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50" y="3310255"/>
            <a:ext cx="5267325" cy="12573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69925" y="4572000"/>
            <a:ext cx="1870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， 查看进程信息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305" y="4909185"/>
            <a:ext cx="5295900" cy="14192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281420" y="1064895"/>
            <a:ext cx="25349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 kill掉一个Master进程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0180" y="1402080"/>
            <a:ext cx="1600200" cy="19050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281420" y="1592580"/>
            <a:ext cx="14484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, 查看主节点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6520180" y="1929765"/>
            <a:ext cx="32004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7001节点。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180" y="2249805"/>
            <a:ext cx="5010150" cy="2457450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6485255" y="4707255"/>
            <a:ext cx="31292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上面可以看出主节点变为7002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299845"/>
            <a:ext cx="1051115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	通过哨兵模式集群的配置，我们可以看出哨兵集群模式是基于主从模式的，哨兵模式具有所有主从的优点。哨兵模式是主从模式的升级，实现了自动化的故障恢复。但哨兵模式的缺点也很明显，Redis较难实现支持在线扩容，在集群容量达到上限时在线扩容会变得很复杂。实现哨兵模式的配置也不简单，甚至有些繁琐，于是就有了Redis Cluster集群。Redis Cluster是官方的Redis集群实现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 dirty="0" smtClean="0">
                <a:sym typeface="+mn-ea"/>
              </a:rPr>
              <a:t>第</a:t>
            </a:r>
            <a:r>
              <a:rPr lang="zh-CN" altLang="en-US" sz="4800" dirty="0" smtClean="0">
                <a:sym typeface="+mn-ea"/>
              </a:rPr>
              <a:t>六</a:t>
            </a:r>
            <a:r>
              <a:rPr sz="4800" dirty="0" smtClean="0">
                <a:sym typeface="+mn-ea"/>
              </a:rPr>
              <a:t>章 </a:t>
            </a:r>
            <a:r>
              <a:rPr sz="4800" dirty="0" err="1" smtClean="0">
                <a:sym typeface="+mn-ea"/>
              </a:rPr>
              <a:t>Redis</a:t>
            </a:r>
            <a:r>
              <a:rPr lang="en-US" sz="4800" dirty="0" smtClean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集群环境部署</a:t>
            </a:r>
            <a:endParaRPr sz="4800" dirty="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11" y="112077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3625"/>
            <a:ext cx="108705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 Cluster集群是一个由多个主从节点组成的分布式服务器群，它具有复制、高可用和分片特性。Redis集群将所有数据存储区域划分为16384个槽位(slots)，每个节点负责一部分槽位，槽位的信息存储于每个节点中。Redis集群要将每个节点设置成集群模式，它没有中心节点，可水平扩展，它的性能和高可用性均优于主从模式和哨兵模式，而且集群配置非常简单。Redis 集群架构图如下图所示。</a:t>
            </a:r>
          </a:p>
        </p:txBody>
      </p:sp>
      <p:pic>
        <p:nvPicPr>
          <p:cNvPr id="96" name="图片 9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34160" y="3094990"/>
            <a:ext cx="3752850" cy="268478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5637530" y="2733675"/>
            <a:ext cx="5080000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Redis Cluster的架构图中可以很容易的看出首先将数据根据hash规则分配到6个slot(槽)中，然后根据CRC算法和取模算法将6个slot分别存储到3个不同的Master节点中，每个Master节点又配套部署了一个Slave节点，当一个Master出现问题后，Slave节点可以顶上。这种Redis Cluster方案对比哨兵模式方案的优点在于提高了读写的并发，分散了I/O，在保障高可用的前提下提高了性能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25698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1 Redis集群环境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036955" y="1499235"/>
            <a:ext cx="100749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集群（Cluster）在物理结构上是由集群上多个节点构成的，这些节点分为两类，一类叫“主节点”(Master),另一类叫”从节点”(Slave)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036955" y="2082800"/>
            <a:ext cx="424878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集群节点要求：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）主节点（Master）不能少于总结点的一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）主节点（Master）至少要有3个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036955" y="3628390"/>
            <a:ext cx="102235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一个Redis集群正常工作至少需要要三个Master（主节点）且不能少于总节点的一半，本集群环境使用一台节点服务器，在这台服务器开启6个Redis实例，每个Redis实例占用1个端口，模拟3个Master(主节点)和3个Slave(从节点）环境，组成一个Redis Cluster(集群），这里用一台机器部署6个Redis实例，也可以多台机器部署Redis集群，修改Redis配置文件redis.conf的IP地址就可以了。本集群实验采用三主三从模式，每个Master(主节点)处理各自的数据，提供读写能力，每个Slave(从节点)异步复制主节点的数据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25698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1 Redis集群环境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108393" y="1937385"/>
          <a:ext cx="5216525" cy="152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9588"/>
                <a:gridCol w="1366837"/>
                <a:gridCol w="989013"/>
                <a:gridCol w="1081087"/>
              </a:tblGrid>
              <a:tr h="1524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版本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1.15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dis 6.0.6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7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 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2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3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4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5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6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986155" y="1499235"/>
            <a:ext cx="22453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 集群的实验环境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986155" y="3430905"/>
            <a:ext cx="27368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以root用户登录Linux服务器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40410" y="1499235"/>
            <a:ext cx="19221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步：安装Redis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40410" y="1836420"/>
            <a:ext cx="43808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首先，安装gcc基础依赖包，使用如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885" y="2173605"/>
            <a:ext cx="1990725" cy="2000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65175" y="2373630"/>
            <a:ext cx="21761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, 下载Redis并解压缩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885" y="2710815"/>
            <a:ext cx="4572000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027430" y="2910840"/>
            <a:ext cx="19837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解压缩Redis 压缩包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885" y="3238500"/>
            <a:ext cx="25908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031240" y="3448050"/>
            <a:ext cx="18173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进入解压后的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885" y="3775710"/>
            <a:ext cx="1752600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009015" y="3975735"/>
            <a:ext cx="31121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make命令编译Redis源文件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7885" y="4303395"/>
            <a:ext cx="971550" cy="1905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72820" y="4503420"/>
            <a:ext cx="23602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编译成功后，安装Redis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885" y="4840605"/>
            <a:ext cx="3228975" cy="2000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972820" y="5040630"/>
            <a:ext cx="51409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安装成功后，需要对Redis 进行部署，把Redis 的配置文件 redis.conf拷贝到 “/usr/local/redis/conf”目录下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5510" y="5577840"/>
            <a:ext cx="3133725" cy="36195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197600" y="1499235"/>
            <a:ext cx="55175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配置Redis的命令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最后需要将Redis的命令所在目录添加到系统参数PATH中,修改/etc/profile文件。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1105" y="2329180"/>
            <a:ext cx="1933575" cy="171450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301105" y="2500630"/>
            <a:ext cx="38906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etc/profile文件最后一行添加以下内容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01105" y="2837815"/>
            <a:ext cx="3257550" cy="19050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301105" y="3028315"/>
            <a:ext cx="49314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使用source 命令使/etc/profile这个文件立即生效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01105" y="3365500"/>
            <a:ext cx="1981200" cy="200025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6301105" y="3565525"/>
            <a:ext cx="43980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至此，Redis 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469519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二</a:t>
            </a:r>
            <a:r>
              <a:rPr lang="en-US" sz="1600">
                <a:sym typeface="+mn-ea"/>
              </a:rPr>
              <a:t>步：在 /usr/local下创建文件夹redis-cluster，然后在其下面创建6个文件夹如下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55" y="2082800"/>
            <a:ext cx="3028950" cy="5143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32155" y="2689860"/>
            <a:ext cx="441515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三步：把之前的redis.conf配置文件拷贝到8001目录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455" y="3273425"/>
            <a:ext cx="4895850" cy="180975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846455" y="3512820"/>
            <a:ext cx="29032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vi命令redis.conf配置文件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455" y="3850005"/>
            <a:ext cx="3581400" cy="171450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5918835" y="1085215"/>
            <a:ext cx="580517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redis.conf配置文件中以下的配置项，redis.conf配置文件可以参考本书的配套代码”Redis\Chapter06\Redis6 集群参考配置文件\redis-cluster\8001\redis.conf”。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6014085" y="1939290"/>
            <a:ext cx="5709920" cy="3999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) </a:t>
            </a:r>
            <a:r>
              <a:rPr lang="en-US" sz="1200">
                <a:sym typeface="+mn-ea"/>
              </a:rPr>
              <a:t>daemonize  yes  开启Redis的守护进程，开启Redis的守护进程后，Redis会在后台直运行，除非手动输入kill命令结束进程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2) </a:t>
            </a:r>
            <a:r>
              <a:rPr lang="en-US" sz="1200">
                <a:sym typeface="+mn-ea"/>
              </a:rPr>
              <a:t>port  8001 分别对每个节点机器的端口号进行设置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3) </a:t>
            </a:r>
            <a:r>
              <a:rPr lang="en-US" sz="1200">
                <a:sym typeface="+mn-ea"/>
              </a:rPr>
              <a:t>dir  /usr/local/redis-cluster/8001/ 设定数据文件存放位置，必须要指定不同的目录位置，不然会丢失数据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4) </a:t>
            </a:r>
            <a:r>
              <a:rPr lang="en-US" sz="1200">
                <a:sym typeface="+mn-ea"/>
              </a:rPr>
              <a:t>cluster-enabled  yes 启动集群模式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5) </a:t>
            </a:r>
            <a:r>
              <a:rPr lang="en-US" sz="1200">
                <a:sym typeface="+mn-ea"/>
              </a:rPr>
              <a:t>cluster-config-file  nodes-8001.conf  集群节点信息文件，这里nodes-8001.conf最好和port对应上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6) </a:t>
            </a:r>
            <a:r>
              <a:rPr lang="en-US" sz="1200">
                <a:sym typeface="+mn-ea"/>
              </a:rPr>
              <a:t>cluster-node-timeout  5000  集群节点的超时时限，单位为豪秒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7) </a:t>
            </a:r>
            <a:r>
              <a:rPr lang="en-US" sz="1200">
                <a:sym typeface="+mn-ea"/>
              </a:rPr>
              <a:t>bind  192.168.11.15 修改为主机的IP，默认ip为127.0.0.1 ，需要改为其它节点机器可访问的ip，否则创建集群时无法访问对应机器的端口，无法创建集群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8) </a:t>
            </a:r>
            <a:r>
              <a:rPr lang="en-US" sz="1200">
                <a:sym typeface="+mn-ea"/>
              </a:rPr>
              <a:t>protected-mode  no  关闭保护模式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9)</a:t>
            </a:r>
            <a:r>
              <a:rPr lang="en-US" sz="1200">
                <a:sym typeface="+mn-ea"/>
              </a:rPr>
              <a:t> appendonly  yes 开启AOF持久化 如果要设置密码需要增加如下配置：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0)</a:t>
            </a:r>
            <a:r>
              <a:rPr lang="en-US" sz="1200">
                <a:sym typeface="+mn-ea"/>
              </a:rPr>
              <a:t> requirepass  xxx 设置Redis的访问密码（使用xxx代替密码，读者根据实际情况自行设置）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1) </a:t>
            </a:r>
            <a:r>
              <a:rPr lang="en-US" sz="1200">
                <a:sym typeface="+mn-ea"/>
              </a:rPr>
              <a:t>masterauth  xxx  设置集群节点间的访问密码（使用xxx代替密码，读者根据实际情况自行设置），跟第10项设置的密码一致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46951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四</a:t>
            </a:r>
            <a:r>
              <a:rPr lang="en-US" sz="1600">
                <a:sym typeface="+mn-ea"/>
              </a:rPr>
              <a:t>步：把修改后的redis.conf配置文件，复制到8002，8003,8004,8005和8006，修改第2、3、5项里的端口号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32155" y="2329180"/>
            <a:ext cx="46958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第三步完成了一个Redis节点的配置了，其实接下来就是机械化的再完成另外五个节点，其实可以这么做：把 8001 实例的redis.conf复制到另外五个文件夹中，唯一要修改的就是 redis.conf 中所有和端口相关的信息即可，其实就是port, dir和cluster-config-file选项的端口信息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115" y="3897630"/>
            <a:ext cx="3667125" cy="10763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061075" y="1499235"/>
            <a:ext cx="52514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五步：分别启动6个Redis节点，然后检查Redis节点是否启动成功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2675" y="2082800"/>
            <a:ext cx="4438650" cy="10763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061075" y="3159125"/>
            <a:ext cx="44894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执行启动Redis节点命令的返回结果如下图所示</a:t>
            </a:r>
          </a:p>
        </p:txBody>
      </p:sp>
      <p:pic>
        <p:nvPicPr>
          <p:cNvPr id="159" name="图片 1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2675" y="3496310"/>
            <a:ext cx="5554345" cy="1875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51714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命令ps -ef | grep redis，查看Redis节点是否启动成功，可以看出6个Redis节点已经全部启动成功了。</a:t>
            </a:r>
          </a:p>
        </p:txBody>
      </p:sp>
      <p:pic>
        <p:nvPicPr>
          <p:cNvPr id="164" name="图片 1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155" y="2082800"/>
            <a:ext cx="5274310" cy="77089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32155" y="2981325"/>
            <a:ext cx="53562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一个个命令启动Redis节点比较麻烦，我们可以使用脚本的方式启动Redis节点，使用以下命令创建Redis集群启动脚本（startRedisCluster.sh）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155" y="3811270"/>
            <a:ext cx="2695575" cy="3714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4182745"/>
            <a:ext cx="54178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vi startRedisCluster.sh命令修改startRedisCluster.sh脚本，添加以下内容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155" y="4766310"/>
            <a:ext cx="4248150" cy="106680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9925" y="5833110"/>
            <a:ext cx="25368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以下命令启动脚本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155" y="6191885"/>
            <a:ext cx="2228850" cy="1809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423025" y="1162050"/>
            <a:ext cx="3947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六步：用redis-cli创建整个Redis集群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6050" y="1499235"/>
            <a:ext cx="5219700" cy="5334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423025" y="2073910"/>
            <a:ext cx="529272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redis-cli命令创建Redis集群使用的参数--cluster-replicas表示主节点和从节点的比例，当参数--cluster-replicas为1时，表示创建Redis集群时一个Master（主节点）需要有一个Slave（从节点）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23025" y="3339783"/>
            <a:ext cx="5274310" cy="156908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46125" y="1499235"/>
            <a:ext cx="53371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按照提示（Can I set the above configuration?）输入yes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220" y="1836420"/>
            <a:ext cx="4778375" cy="48507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194425" y="1499235"/>
            <a:ext cx="53460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以上是创建Redis的集群信息，表示每创建一个Redis主节点就创建一个Redis从节点，可以转换为以下的表格形式。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2"/>
            </p:custDataLst>
          </p:nvPr>
        </p:nvGraphicFramePr>
        <p:xfrm>
          <a:off x="6194108" y="2171700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063"/>
                <a:gridCol w="630237"/>
                <a:gridCol w="3079750"/>
                <a:gridCol w="93027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号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节点ID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插槽范围(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ots)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8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0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ster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fb8600a4f020daeebd85a64369a9aa04b38a7d39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-546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3d9d3cf8c6fcd7e8adc08095df9b12de7843807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2904463a6c7caa958085e008ad0324213883811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5461-1092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5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7bc9b1dbd1c4508828dbcb10828e20063c934c9a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c58e8b6ae18751ad98858aa9d7ea2c710d1511c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0923-1638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6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d8799e882b249fc6bfd655ffcb5a4f89f81efe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6194425" y="3479800"/>
            <a:ext cx="54413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的主从节点如下图所示，表示Redis集群有三个主节点(Master)和三个从节点(Slave)，一个主节点对应一个从节点，形成一对一的对应关系，如图所示</a:t>
            </a: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3975" y="4398645"/>
            <a:ext cx="5021580" cy="21869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46125" y="1499235"/>
            <a:ext cx="24606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七步：验证Redis集群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50900" y="1836420"/>
            <a:ext cx="54794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1) 使用redis-cli命令连接Redis集群的节点，使用命令如下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45" y="2173605"/>
            <a:ext cx="376237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56945" y="2373630"/>
            <a:ext cx="537337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i 的命令参数 -a表示访问Redis服务端密码，-c表示Redis集群模式，连接Redis集群时需要加上参数-c。-h表示Redis集群节点的IP地址，-p表示集群节点的端口号。如果Redis集群没有设置密码可以省略-a参数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可以使用以下任何一条命令连接Redis集群中的一个节点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765" y="3695700"/>
            <a:ext cx="3419475" cy="10763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956945" y="4772025"/>
            <a:ext cx="56305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命令</a:t>
            </a:r>
            <a:r>
              <a:rPr sz="1600">
                <a:solidFill>
                  <a:srgbClr val="0000FF"/>
                </a:solidFill>
                <a:sym typeface="+mn-ea"/>
              </a:rPr>
              <a:t>redis-cli -c -h 192.168.11.11 -p 8001</a:t>
            </a:r>
            <a:r>
              <a:rPr sz="1600">
                <a:sym typeface="+mn-ea"/>
              </a:rPr>
              <a:t>访问Redis集群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765" y="5109210"/>
            <a:ext cx="4695825" cy="10668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956945" y="6185535"/>
            <a:ext cx="56299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SET命令后进入到端口为8002的Redis节点了，进行了跳转重定向(redirected)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777990" y="1836420"/>
            <a:ext cx="2642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</a:t>
            </a:r>
            <a:r>
              <a:rPr sz="1600">
                <a:sym typeface="+mn-ea"/>
              </a:rPr>
              <a:t>) 测试Redis集群是否正常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7054215" y="2173605"/>
            <a:ext cx="45745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cluster info命令查看Redis集群信息，返回值cluster_known_nodes:6表示当前Redis集群中共有6个Redis节点。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39940" y="3003550"/>
            <a:ext cx="3381375" cy="3009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89000" y="1499235"/>
            <a:ext cx="54794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nodes命令查看Redis集群节点列表，可以看出整个Redis集群含有3个Master和3个Slave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65" y="2082800"/>
            <a:ext cx="5276850" cy="23145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79780" y="4397375"/>
            <a:ext cx="56984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至此，Redis集群环境搭建完毕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redis-cli命令关闭Redis集群的节点(192.168.11.15:8001)，使用命令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5" y="5314950"/>
            <a:ext cx="4352925" cy="17145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478270" y="1142365"/>
            <a:ext cx="48621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本例中可以使用以下命令关闭六个Redis集群节点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1775" y="1479550"/>
            <a:ext cx="3943350" cy="10763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478270" y="2555875"/>
            <a:ext cx="49568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此做一个实验，使用以下命令停止端口为8001的Redis集群节点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1775" y="3139440"/>
            <a:ext cx="3876675" cy="19050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478270" y="3329940"/>
            <a:ext cx="51174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再查看Redis进程，会发现端口为8001的Redis进程已经销毁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8270" y="3913505"/>
            <a:ext cx="5267325" cy="28194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89000" y="1499235"/>
            <a:ext cx="54794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客户端在连接上端口为8002的Redis集群节点后，查看Redis集群信息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65" y="2082800"/>
            <a:ext cx="5276850" cy="2486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35115" y="2244090"/>
            <a:ext cx="53181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会发现端口为8001的Redis集群节点的状态位”disconnected”，表示这个集群节点已经关闭，如果想要打开端口为8001的Redis集群节点，需要使用如下命令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1350" y="3230880"/>
            <a:ext cx="4438650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65200" y="1499235"/>
            <a:ext cx="1031875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集群代理(Redis Cluster Proxy) 是Redis 6的新特性，Redis客户端不需要知道Redis集群中的具体节点个数和主从身份，可以直接通过集群代理(Redis Cluster Proxy)访问集群，对于客户端来说通过集群代理访问的集群就和单机的Redis一样，也能解决很多集群的使用限制，如下图所示。</a:t>
            </a:r>
          </a:p>
        </p:txBody>
      </p:sp>
      <p:pic>
        <p:nvPicPr>
          <p:cNvPr id="166" name="图片 1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0240" y="2698115"/>
            <a:ext cx="2667000" cy="213868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117600" y="5031740"/>
            <a:ext cx="101663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代理使用的服务器资源列表如下，使用上一节已经配置好的Redis集群环境，将Redis的集群代理（Redis Cluster Proxy）安装在CentOS 7操作系统下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65200" y="1499235"/>
            <a:ext cx="103187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代理当前版本（截止到2020年8月17日）是Redis Cluster Proxy v999.999.999 (unstable)，是最新的测试版本，包含有相对较多的bug，请谨慎在生产环境下使用，期待后续有更稳定的版本推出。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3035300" y="2435225"/>
          <a:ext cx="612140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7810"/>
                <a:gridCol w="650875"/>
                <a:gridCol w="2277110"/>
                <a:gridCol w="166560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版本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rowSpan="7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11.15 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1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dis 6.0.6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7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 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2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3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4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5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6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21590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777</a:t>
                      </a:r>
                      <a:endParaRPr lang="en-US" altLang="en-US" sz="16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Redis Cluster Proxy v999.999.999 (unstable)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5151120" y="4629785"/>
            <a:ext cx="19469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集群代理实验环境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4667885" y="5090160"/>
            <a:ext cx="285623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以root用户登录Linux服务器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974725" y="1499235"/>
            <a:ext cx="21812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1 </a:t>
            </a:r>
            <a:r>
              <a:rPr sz="1600">
                <a:solidFill>
                  <a:srgbClr val="0000FF"/>
                </a:solidFill>
                <a:sym typeface="+mn-ea"/>
              </a:rPr>
              <a:t>安装Redis集群代理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974725" y="1836420"/>
            <a:ext cx="39852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gcc 9.3.1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首先，安装gcc基础依赖包，使用如下命令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725" y="2419985"/>
            <a:ext cx="2181225" cy="1809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74725" y="2600960"/>
            <a:ext cx="51371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为了编译redis-cluster-proxy源码还需要使用 devtoolset升级gcc版本，gcc版本必须大于4.9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4725" y="3184525"/>
            <a:ext cx="5267325" cy="7239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860425" y="3908425"/>
            <a:ext cx="538099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devtoolset后,需要输入scl enable devtoolset-9 bash来启动devtoolset。启动devtoolset后仅针对本次会话有效,若重新登陆Linux，需要再次使用scl命令激活devtoolset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若要使devtoolset长期有效，需要输入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725" y="4984750"/>
            <a:ext cx="2952750" cy="17145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6432550" y="1499235"/>
            <a:ext cx="42043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2，下载，编译，安装和配置Redis集群代理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601460" y="1836420"/>
            <a:ext cx="3970655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git，git是一个分布式版本控制系统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7500" y="2173605"/>
            <a:ext cx="180975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601460" y="2373630"/>
            <a:ext cx="4851400" cy="5835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建立下载文件夹 /upload，在这个目录使用git下载最新版本的redis-cluster-proxy源码包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7500" y="2957195"/>
            <a:ext cx="4457700" cy="53340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601460" y="3494405"/>
            <a:ext cx="336550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进入下载的redis-cluster-proxy目录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7500" y="3835400"/>
            <a:ext cx="2228850" cy="17145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601460" y="4010660"/>
            <a:ext cx="372745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make命令安装redis_cluster_proxy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5910" y="4351655"/>
            <a:ext cx="3990975" cy="171450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601460" y="4526915"/>
            <a:ext cx="5080000" cy="13220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make命令使用的参数PREFIX代表安装路径，参数要大写。执行make命令后会自动把redis_cluster_proxy的可执行命令复制到 “/usr/local/ redis_cluster_proxy /bin”目录下，这样执行redis_cluster_proxy命令时，就不用输入完整路径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974725" y="1499235"/>
            <a:ext cx="49237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成功后，需要对redis-cluster-proxy进行部署，把它的配置文件proxy.conf拷贝到 “/usr/local/redis-cluster-proxy/conf”目录下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245" y="2329180"/>
            <a:ext cx="4029075" cy="5334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74725" y="2862580"/>
            <a:ext cx="41763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部署后的Redis集群代理的目录结构如图所示</a:t>
            </a:r>
          </a:p>
        </p:txBody>
      </p:sp>
      <p:pic>
        <p:nvPicPr>
          <p:cNvPr id="64" name="图片 6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245" y="3301365"/>
            <a:ext cx="2606040" cy="99822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974725" y="4401185"/>
            <a:ext cx="4328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vi命令修改集群代理的配置文件proxy.conf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1245" y="4738370"/>
            <a:ext cx="3810000" cy="180975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6299200" y="967105"/>
            <a:ext cx="3785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修改proxy.conf配置文件中以下的配置项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9200" y="1367790"/>
            <a:ext cx="5267325" cy="2838450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6221730" y="4206240"/>
            <a:ext cx="54603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最后，将Redis集群代理（Redis Cluster Proxy）的命令所在目录添加到系统参数PATH中，修改/etc/profile文件</a:t>
            </a: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9200" y="4785995"/>
            <a:ext cx="1647825" cy="171450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213475" y="4950460"/>
            <a:ext cx="38709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 /etc/profile文件最后一行添加以下内容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9200" y="5248275"/>
            <a:ext cx="4000500" cy="200025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6221730" y="5448300"/>
            <a:ext cx="38893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然后使用source命令使这个文件立即生效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9200" y="5739130"/>
            <a:ext cx="1933575" cy="190500"/>
          </a:xfrm>
          <a:prstGeom prst="rect">
            <a:avLst/>
          </a:prstGeom>
        </p:spPr>
      </p:pic>
      <p:sp>
        <p:nvSpPr>
          <p:cNvPr id="32" name="文本框 31"/>
          <p:cNvSpPr txBox="1"/>
          <p:nvPr/>
        </p:nvSpPr>
        <p:spPr>
          <a:xfrm>
            <a:off x="6221730" y="5946140"/>
            <a:ext cx="508000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至此，Redis集群代理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84225" y="1432560"/>
            <a:ext cx="28905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3，配置和启动Redis集群代理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84225" y="1769745"/>
            <a:ext cx="61544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Redis 6集群启动后，启动Redis集群代理（redis-cluster-proxy）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220" y="2106930"/>
            <a:ext cx="526732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784225" y="2306955"/>
            <a:ext cx="680339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uster-proxy命令的参数 -c 表示加载proxy.conf配置文件后启动Redis集群代理。执行启动Redis代理集群命令的返回结果如下图所示，可以看出Redis集群代理已经成功启动。</a:t>
            </a:r>
          </a:p>
        </p:txBody>
      </p:sp>
      <p:pic>
        <p:nvPicPr>
          <p:cNvPr id="208" name="图片 20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220" y="3505518"/>
            <a:ext cx="5274310" cy="73088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784225" y="4236720"/>
            <a:ext cx="68040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输入 ps -ef | grep redis，可以看出Redis集群代理进程占用的端口是5855</a:t>
            </a:r>
          </a:p>
        </p:txBody>
      </p:sp>
      <p:pic>
        <p:nvPicPr>
          <p:cNvPr id="209" name="图片 20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220" y="4573905"/>
            <a:ext cx="5274310" cy="69977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784225" y="5304790"/>
            <a:ext cx="71945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如果需要停止Redis集群代理，可以使用kill命令无条件终止Redis集群代理进程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1220" y="5673090"/>
            <a:ext cx="1514475" cy="1809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4225" y="5885180"/>
            <a:ext cx="5250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Redis客户端连接到Redis集群代理，使用以下命令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220" y="6191250"/>
            <a:ext cx="2952750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84225" y="1432560"/>
            <a:ext cx="28905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3，配置和启动Redis集群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4225" y="1760855"/>
            <a:ext cx="1072832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与Redis 集群连接方式不同，在Redis集群代理(redis-cluster-proxy)模式下，Redis客户端可以连接至Redis集群代理（redis-cluster-proxy）节点，而无需知道Redis集群自身的详细信息，剩下的和操作单机Redis是一样的，通过集群代理访问Redis集群，如下图所示</a:t>
            </a:r>
          </a:p>
        </p:txBody>
      </p:sp>
      <p:pic>
        <p:nvPicPr>
          <p:cNvPr id="210" name="图片 2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060" y="2988945"/>
            <a:ext cx="3345180" cy="89916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84225" y="3993515"/>
            <a:ext cx="107283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传统的Redis集群连接方式，来查看上面SADD操作的数据，可以发现的确是写入到Redis集群中不同的节点中了，如下图所示。</a:t>
            </a:r>
          </a:p>
        </p:txBody>
      </p:sp>
      <p:pic>
        <p:nvPicPr>
          <p:cNvPr id="211" name="图片 2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060" y="4823460"/>
            <a:ext cx="3642360" cy="8001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251450" y="3331210"/>
            <a:ext cx="28041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集群代理访问Redis集群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5070475" y="5025390"/>
            <a:ext cx="31654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Redis客户端访问Redis集群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1375" y="1499235"/>
            <a:ext cx="105092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 Cluster集群方案采用的是虚拟槽分区，槽范围是0~16383,共有16384个槽，槽有3个主节点时，每个节点大致负责5500个槽的读写，每个节点会维护自身负责的虚拟槽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41375" y="2082800"/>
            <a:ext cx="105092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键所对应的哈希值通过公式计算： CRC16(key) % 16384 。在集群的实际使用时，SET key value 命令会计算hash值，把键值存储设置到对应的主节点上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41375" y="2666365"/>
            <a:ext cx="105092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 Cluster集群采用了哈希分区的“虚拟槽分区”方式，所有的键根据哈希函数(CRC16[key] &amp; 16383)映射到0－16383槽内，一共有16384个槽位，每个节点维护部分槽及槽所映射的键值数据，哈希函数: CRC16[key] &amp; 16383 进行按位与操作。槽与节点的关系如下</a:t>
            </a:r>
          </a:p>
        </p:txBody>
      </p:sp>
      <p:pic>
        <p:nvPicPr>
          <p:cNvPr id="128" name="图片 1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790" y="3570923"/>
            <a:ext cx="3219450" cy="245935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1500" y="6105525"/>
            <a:ext cx="168910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000">
                <a:sym typeface="+mn-ea"/>
              </a:rPr>
              <a:t>Redis集群槽与节点的关系</a:t>
            </a:r>
          </a:p>
        </p:txBody>
      </p:sp>
      <p:pic>
        <p:nvPicPr>
          <p:cNvPr id="11286" name="图片 112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8838" y="3496310"/>
            <a:ext cx="3762375" cy="24053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584950" y="6030595"/>
            <a:ext cx="268033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000">
                <a:sym typeface="+mn-ea"/>
              </a:rPr>
              <a:t>用hash函数将键映射到槽，再由槽指向数据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5650" y="1499235"/>
            <a:ext cx="51555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启动Redis 集群后，使用Redis客户端连接主机名为192.168.11.15和端口为8001的Redis集群节点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070" y="2082800"/>
            <a:ext cx="3248025" cy="3619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5650" y="2444750"/>
            <a:ext cx="508000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然后输入cluster nodes命令查看当前Redis集群的节点列表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070" y="3059430"/>
            <a:ext cx="5276850" cy="26670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337300" y="1308735"/>
            <a:ext cx="518477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该命令返回值显示了Redis集群中的每个节点的id、身份、连接数和插槽数等。从返回值可以看出，整个Redis集群运行正常，整个集群包含三个主节点（Master）和三个从节点（Slave）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337300" y="2446020"/>
            <a:ext cx="563245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</a:t>
            </a:r>
            <a:r>
              <a:rPr sz="1600">
                <a:sym typeface="+mn-ea"/>
              </a:rPr>
              <a:t>8001端口的Redis集群主节点存储0 ~ 5460个哈希槽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</a:t>
            </a:r>
            <a:r>
              <a:rPr sz="1600">
                <a:sym typeface="+mn-ea"/>
              </a:rPr>
              <a:t>8002端口的Redis集群主节点存储5461 ~ 10922个哈希槽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 </a:t>
            </a:r>
            <a:r>
              <a:rPr sz="1600">
                <a:sym typeface="+mn-ea"/>
              </a:rPr>
              <a:t>8003端口的Redis集群主节点存储10923 ~ 16383个哈希槽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6337300" y="3705860"/>
            <a:ext cx="518477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这三个Master节点存储的所有哈希槽组成Redis集群的存储槽位，Slave节点是每个主节点的备份从节点，不显示存储槽位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308725" y="4596765"/>
            <a:ext cx="569023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Redis 集群中内置了 16384 个哈希槽，当需要在 Redis 集群中放置一个 key-value（键值）时，Redis 先对 key 使用 crc16 算法算出一个结果，然后把结果对 16384 求余数。这样每个 key 都会对应一个编号在 0-16383 之间的哈希槽，Redis 会根据节点数量大致均等的将哈希槽映射到不同的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5650" y="1499235"/>
            <a:ext cx="51555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哈希槽的可以方便的添加或移除节点。当需要增加节点时，只需要把其他节点的某些哈希槽挪到新节点就可以了。当需要移除节点时，只需要把移除节点上的哈希槽挪到其他节点就行了。新增或移除节点的时候不需要先停掉所有的 Redis 服务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55650" y="2821305"/>
            <a:ext cx="42227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可以使用cluster info命令查看Redis集群信息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445" y="3158490"/>
            <a:ext cx="3343275" cy="30194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032500" y="1038860"/>
            <a:ext cx="58794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当我们执行SET age 23命令时，Redis是如何将数据保存到集群中的呢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575" y="1622425"/>
            <a:ext cx="4476750" cy="6953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032500" y="2331085"/>
            <a:ext cx="58794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执行步骤如下：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1） 接收命令SET age 23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2） 通过key（age）计算出插槽值，然后根据插槽值找到对应的节点。（age的插槽值为：741）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3） 重定向到该节点执行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032500" y="3666490"/>
            <a:ext cx="587946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整个Redis集群提供了16384个插槽，也就是说集群中的每个节点分得的插槽数总和为16384。Redis集群实现了将16384个插槽平均分配给了N个节点，如下图所示</a:t>
            </a:r>
          </a:p>
        </p:txBody>
      </p:sp>
      <p:pic>
        <p:nvPicPr>
          <p:cNvPr id="274" name="图片 27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2500" y="4509770"/>
            <a:ext cx="3416300" cy="157670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9448800" y="4698365"/>
            <a:ext cx="24638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如果插槽数有部分是没有指定到Redis节点的，那么这部分插槽所对应的keys将不能使用。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Redis 集群的数据分散度高，键值分布与业务无关，键值无法顺序访问，支持批量操作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6735334" y="1992002"/>
            <a:ext cx="5364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6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3600" dirty="0" smtClean="0">
                <a:latin typeface="微软雅黑 (正文)"/>
                <a:sym typeface="+mn-ea"/>
              </a:rPr>
              <a:t>集群环境部署</a:t>
            </a:r>
            <a:endParaRPr lang="zh-CN" altLang="en-US" sz="3600" dirty="0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6134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文本框 99"/>
          <p:cNvSpPr txBox="1"/>
          <p:nvPr/>
        </p:nvSpPr>
        <p:spPr>
          <a:xfrm>
            <a:off x="1696720" y="1641475"/>
            <a:ext cx="14700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2400" dirty="0" err="1" smtClean="0">
                <a:sym typeface="+mn-ea"/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96720" y="2302510"/>
            <a:ext cx="14700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zh-CN" altLang="en-US" sz="2400" dirty="0" err="1" smtClean="0">
                <a:sym typeface="+mn-ea"/>
              </a:rPr>
              <a:t>哨兵模式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08143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文本框 6"/>
          <p:cNvSpPr txBox="1"/>
          <p:nvPr/>
        </p:nvSpPr>
        <p:spPr>
          <a:xfrm>
            <a:off x="1696720" y="3022600"/>
            <a:ext cx="27146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zh-CN" altLang="en-US" sz="2400" dirty="0" err="1" smtClean="0">
                <a:sym typeface="+mn-ea"/>
              </a:rPr>
              <a:t>Redis Cluster集群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69950" y="1499235"/>
            <a:ext cx="106140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在集群搭建小节中我们把六个Redis节点部署在一台Linux服务器上，采用三主三从的模式启动Redis集群，本节进行Redis集群的水平扩展实验，在原始Redis集群基础上新增两个Redis节点，一个Master主节点(端口号为8007)和一个Slave从节点(端口号为8008)，Redis集群增加节点的架构如下图所示。增加Redis节点的顺序是先增加Master主节点，然后在增加Slave从节点。</a:t>
            </a:r>
          </a:p>
        </p:txBody>
      </p:sp>
      <p:pic>
        <p:nvPicPr>
          <p:cNvPr id="163" name="图片 1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5895" y="3067685"/>
            <a:ext cx="6614160" cy="206819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074920" y="5217160"/>
            <a:ext cx="2042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新增节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55675" y="1499235"/>
            <a:ext cx="2251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一，增加Redis主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955675" y="1836420"/>
            <a:ext cx="54324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新添加一个Redis节点，需要在/usr/local/redis-cluster下创建8007，执行以下操作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555" y="2419985"/>
            <a:ext cx="2581275" cy="3714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955675" y="2791460"/>
            <a:ext cx="4918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拷贝8001文件夹下的redis.conf文件到8007文件夹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555" y="3128645"/>
            <a:ext cx="500062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955675" y="3300095"/>
            <a:ext cx="31184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修改redis.conf配置文件的配置项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0825" y="1209675"/>
            <a:ext cx="4410075" cy="44386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289179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</a:t>
            </a:r>
            <a:r>
              <a:rPr sz="1600">
                <a:sym typeface="+mn-ea"/>
              </a:rPr>
              <a:t>启动新增加的Redis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启动端口为8007的Redis节点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082800"/>
            <a:ext cx="5248275" cy="10763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65175" y="3159125"/>
            <a:ext cx="533844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查询Redis节点的进程启动情况，可以看出端口为8007的Redis节点已经启动成功</a:t>
            </a:r>
          </a:p>
        </p:txBody>
      </p:sp>
      <p:pic>
        <p:nvPicPr>
          <p:cNvPr id="167" name="图片 16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980" y="3742690"/>
            <a:ext cx="5274310" cy="94234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451600" y="1521460"/>
            <a:ext cx="53270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这时查看Redis集群的节点信息，会发现并没有端口为8007的Redis节点信息，还需要增加Redis主节点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0815" y="2105025"/>
            <a:ext cx="5257800" cy="26479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4177665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2，增加主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增加Redis主节点的命令如下所示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159635"/>
            <a:ext cx="51530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855980" y="2350135"/>
            <a:ext cx="545147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i --cluster命令参数说明：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一个参数add-node ,	表示添加Redis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二个参数192.168.11.15:8007 , 是增加的Redis主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三个参数192.168.11.15:8001，可以是Redis集群中的任何一个Redis节点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55980" y="4288155"/>
            <a:ext cx="545147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>
                <a:sym typeface="+mn-ea"/>
              </a:rPr>
              <a:t>输入命令后在响应信息的最后，如果有"[OK] New node added correctly"提示就代表Redis新节点添加成功了。</a:t>
            </a:r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245" y="1385570"/>
            <a:ext cx="5286375" cy="408622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45205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info命令查看Redis集群状态,可以看到已知Redis节点为7个。</a:t>
            </a:r>
          </a:p>
        </p:txBody>
      </p:sp>
      <p:pic>
        <p:nvPicPr>
          <p:cNvPr id="212" name="图片 2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143125"/>
            <a:ext cx="4438650" cy="22479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263650" y="4451350"/>
            <a:ext cx="26701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查看Redis Cluster集群信息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794375" y="1499235"/>
            <a:ext cx="56324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nodes命令查看Redis集群信息，可以看到端口为8007的Redis节点状态为master，但是现在没有哈希槽分配到这个Redis节点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600" y="2329180"/>
            <a:ext cx="5219700" cy="2838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35305" y="5241290"/>
            <a:ext cx="50800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当Redis集群添加节点成功以后，新增的Redis节点不会有任何数据，因为它还没有分配任何的slot(哈希槽)，我们需要为新节点手工分配哈希槽。</a:t>
            </a:r>
          </a:p>
        </p:txBody>
      </p:sp>
      <p:pic>
        <p:nvPicPr>
          <p:cNvPr id="11" name="图片 10"/>
          <p:cNvPicPr/>
          <p:nvPr/>
        </p:nvPicPr>
        <p:blipFill>
          <a:blip r:embed="rId5"/>
          <a:stretch>
            <a:fillRect/>
          </a:stretch>
        </p:blipFill>
        <p:spPr>
          <a:xfrm>
            <a:off x="671513" y="4994592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1" name="文本框 100"/>
          <p:cNvSpPr txBox="1"/>
          <p:nvPr/>
        </p:nvSpPr>
        <p:spPr>
          <a:xfrm>
            <a:off x="1062355" y="4965700"/>
            <a:ext cx="54673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注意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289179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</a:t>
            </a:r>
            <a:r>
              <a:rPr sz="1600">
                <a:sym typeface="+mn-ea"/>
              </a:rPr>
              <a:t>，为Redis主节点分配哈希槽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1031875" y="1836420"/>
            <a:ext cx="44805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为Redis主节点手工分配哈希槽的命令如下所示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920" y="2173605"/>
            <a:ext cx="3800475" cy="1714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029335" y="2345055"/>
            <a:ext cx="30708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-cli --cluster命令参数说明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031875" y="2682240"/>
            <a:ext cx="54032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个参数reshard , 表示为Redis节点手工分配哈希槽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二个参数192.168.11.15:8007 , 是增加的Redis主节点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076325" y="3528060"/>
            <a:ext cx="2451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配哈希槽有两种方式：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137920" y="3917950"/>
            <a:ext cx="883158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方式1、从所有主节点拿出适量的哈希槽分配到目标节点，这里的目标节点是新增加的Redis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方式2、在指定的主节点拿出指定数量的哈希槽分配到目标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50900" y="1499235"/>
            <a:ext cx="81940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针对这两种分配哈希槽的方式，我们做两个实验。	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实验1：</a:t>
            </a:r>
            <a:r>
              <a:rPr lang="en-US" sz="1600">
                <a:sym typeface="+mn-ea"/>
              </a:rPr>
              <a:t>从所有的Redis主节点中拿出1000个哈希槽分配给主节点（192.168.11.15:8007）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520" y="2082800"/>
            <a:ext cx="4930775" cy="453453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232525" y="2197735"/>
            <a:ext cx="52800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会询问要分多少个槽出来？ 输入 1000，按Enter键继续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32525" y="2534920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给哪个节点？输入Redis节点(192.168.11.15:8007)的node id(节点)，484b7c18a54a1690e4fda5361023d7d83d529354，按Enter键继续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232525" y="3364865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提示从哪些主节点抽取哈希槽到新节点中？ 输入all，表示从所有主节点抽取哈希槽到节点（192.168.11.15:8007），然后按Enter键继续。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2700" y="4194810"/>
            <a:ext cx="5219700" cy="10668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232525" y="5261610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返回消息中会有消息提示Do you want to proceed with the proposed reshard plan (yes/no)? 询问我们是否允许这个分配哈希槽的计划，输入yes，然后按Enter键继续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82015" y="1499235"/>
            <a:ext cx="33655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登陆Redis集群，查看集群状态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015" y="1836420"/>
            <a:ext cx="5276850" cy="30289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67715" y="4865370"/>
            <a:ext cx="55054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以上消息可以看出Redis节点（192.168.11.15:8007）已经有哈希槽了，可以在Redis节点（192.168.11.15:8007）进行读写操作了，并且这个Redis节点是Master(主节点)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273165" y="2207895"/>
            <a:ext cx="529844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节点（192.168.11.15:8007）的哈希槽范围是：从0到332，从5461到5794，从10923到11255, 计算Redis节点分配的插糟：（332 - 0 + 1）+ （5794 - 5461 + 1）+ （11255 - 10923 + 1）= 1000，可以这个新加的Redis 主节点一共分配了 1000个哈希槽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31850" y="1499235"/>
            <a:ext cx="10127615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针对这两种分配哈希槽的方式，我们做两个实验。	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实验2：</a:t>
            </a:r>
            <a:r>
              <a:rPr lang="en-US" sz="1600">
                <a:sym typeface="+mn-ea"/>
              </a:rPr>
              <a:t>从Redis主节点（192.168.11.15:8002）中拿出500个哈希槽分配给Redis主节点（192.168.11.15:8007）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320" y="2159635"/>
            <a:ext cx="5267325" cy="37338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245" y="2159635"/>
            <a:ext cx="4086225" cy="895350"/>
          </a:xfrm>
          <a:prstGeom prst="rect">
            <a:avLst/>
          </a:prstGeom>
        </p:spPr>
      </p:pic>
      <p:sp>
        <p:nvSpPr>
          <p:cNvPr id="101" name="文本框 100"/>
          <p:cNvSpPr txBox="1"/>
          <p:nvPr/>
        </p:nvSpPr>
        <p:spPr>
          <a:xfrm>
            <a:off x="6405245" y="3058160"/>
            <a:ext cx="52317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会询问要分多少个槽出来？ 输入 500，按Enter键继续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405245" y="3395345"/>
            <a:ext cx="56305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给哪个节点？输入Redis节点(192.168.11.15:8007)的node id(节点)，484b7c18a54a1690e4fda5361023d7d83d529354，按Enter键继续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05245" y="4225290"/>
            <a:ext cx="563054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提示从哪些主节点抽取哈希槽到新节点中？ 输入节点（192.168.11.15:8002）的node id,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2904463a6c7caa958085e008ad0324213883811，表示从指定的节点（192.168.11.15:8002）抽取哈希槽到新增节点（192.168.11.15:8007），然后输入done，然后按Enter键继续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575" y="1499235"/>
            <a:ext cx="5276850" cy="12573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69925" y="2756535"/>
            <a:ext cx="54889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返回消息中会有消息提示Do you want to proceed with the proposed reshard plan (yes/no)? 询问我们是否允许这个分配哈希槽的计划，输入yes，然后按Enter键继续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69925" y="3586480"/>
            <a:ext cx="33566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登陆Redis集群，查看集群状态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575" y="3923665"/>
            <a:ext cx="5286375" cy="28479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158865" y="2312670"/>
            <a:ext cx="585025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Redis节点（192.168.11.15:8007）的哈希槽范围是：从0到332，从5461到6294，从10923到11255, 计算Redis节点分配的插糟：（332 - 0 + 1）+ （6294 - 5461 + 1）+ （11255 - 10923 + 1）= 1500，可以这个Redis 主节点一共分配了 1500个哈希槽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至此Redis主节点已经添加完毕了，现在的Redis集群由三个主节点和三个从节点变成了四个主节点和三个从节点，也就是四主三从模式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993775"/>
            <a:ext cx="1065657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sz="2400"/>
              <a:t>    </a:t>
            </a:r>
            <a:r>
              <a:rPr altLang="zh-CN" sz="2400"/>
              <a:t>主从复制也叫主从模式，当用户往Master端写入数据时，通过Redis Sync机制将数据文件发送至Slave，Slave也会通过Redis Sync机制将数据文件发送至Master以确保数据一致，来实现Redis的主从复制。如果Master和Slave之间的链接出现断连现象，Slave可以自动重连Master，但是在连接成功之后，一次完全同步将被自动执行。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3920490"/>
            <a:ext cx="106565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   在主从复制配置后，Master（主节点）可以负责读写服务， Slave（从节点）只负责读服务。Redis 复制在 Master 这一端是非阻塞的，也就是说在和 Slave 同步数据的时候，Master 仍然可以执行客户端的操作命令而不受其影响。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55675" y="1499235"/>
            <a:ext cx="2251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二</a:t>
            </a:r>
            <a:r>
              <a:rPr sz="1600">
                <a:sym typeface="+mn-ea"/>
              </a:rPr>
              <a:t>，增加Redis</a:t>
            </a:r>
            <a:r>
              <a:rPr lang="zh-CN" sz="1600">
                <a:sym typeface="+mn-ea"/>
              </a:rPr>
              <a:t>从</a:t>
            </a:r>
            <a:r>
              <a:rPr sz="1600">
                <a:sym typeface="+mn-ea"/>
              </a:rPr>
              <a:t>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955675" y="1836420"/>
            <a:ext cx="51371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新添加一个Redis节点，需要在/usr/local/redis-cluster下创建8008，执行以下操作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950" y="2419985"/>
            <a:ext cx="2609850" cy="3714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955675" y="2791460"/>
            <a:ext cx="49085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拷贝8001文件夹下的redis.conf文件到8008文件夹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950" y="3128645"/>
            <a:ext cx="490537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14400" y="3328670"/>
            <a:ext cx="27749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修改redis.conf文件的配置项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7450" y="1038860"/>
            <a:ext cx="4476750" cy="44577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1375" y="1499235"/>
            <a:ext cx="30918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1，启动新添加的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启动端口为8008的Redis节点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2082800"/>
            <a:ext cx="4219575" cy="2000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9925" y="2282825"/>
            <a:ext cx="63652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输入 ps -ef | grep redis命令可以看出端口为8008的Redis已经启动了</a:t>
            </a:r>
          </a:p>
        </p:txBody>
      </p:sp>
      <p:pic>
        <p:nvPicPr>
          <p:cNvPr id="213" name="图片 2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375" y="2620010"/>
            <a:ext cx="5274310" cy="10972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41375" y="3836035"/>
            <a:ext cx="553720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2，增加从节点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本实验配置Redis节点（192.168.11.15:8008）为主节点（192.168.11.15:8007）的从节点，添加节点（192.168.11.15:8008）到Redis集群中去并查看集群状态。</a:t>
            </a:r>
          </a:p>
        </p:txBody>
      </p:sp>
      <p:pic>
        <p:nvPicPr>
          <p:cNvPr id="214" name="图片 2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0670" y="2819718"/>
            <a:ext cx="5274310" cy="28886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2010" y="1499235"/>
            <a:ext cx="3091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在查看集群的Redis节点状态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010" y="1836420"/>
            <a:ext cx="5286375" cy="3371850"/>
          </a:xfrm>
          <a:prstGeom prst="rect">
            <a:avLst/>
          </a:prstGeom>
        </p:spPr>
      </p:pic>
      <p:sp>
        <p:nvSpPr>
          <p:cNvPr id="101" name="文本框 100"/>
          <p:cNvSpPr txBox="1"/>
          <p:nvPr/>
        </p:nvSpPr>
        <p:spPr>
          <a:xfrm>
            <a:off x="6480175" y="1364615"/>
            <a:ext cx="538416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</a:t>
            </a:r>
            <a:r>
              <a:rPr lang="zh-CN" sz="1600">
                <a:sym typeface="+mn-ea"/>
              </a:rPr>
              <a:t>可以看到端口为8008的节点是一个Master节点，没有被分配任何的hash槽，需要执行CLUSTER REPLICATE 集群命令来指定当前节点(从节点)的主节点id为哪个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80175" y="2194560"/>
            <a:ext cx="5422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首先，使用Redis客户端连接到新添加的端口为8008的节点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6220" y="2531745"/>
            <a:ext cx="4638675" cy="2000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356985" y="2731770"/>
            <a:ext cx="55460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 然后，执行CLUSTER  REPLICATE集群命令把当前端口为8008的从节点(Slave)指定到一个主节点(Master)下，也就是指定当前从节点的主节点id。本实验将端口为8008的从节点指定到端口为8007的Redis节点上，端口为8007的节点id是484b7c18a54a1690e4fda5361023d7d83d529354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6220" y="4053840"/>
            <a:ext cx="3181350" cy="542925"/>
          </a:xfrm>
          <a:prstGeom prst="rect">
            <a:avLst/>
          </a:prstGeom>
        </p:spPr>
      </p:pic>
      <p:pic>
        <p:nvPicPr>
          <p:cNvPr id="216" name="图片 2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6220" y="5078095"/>
            <a:ext cx="4815840" cy="2209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718300" y="4740910"/>
            <a:ext cx="21939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Redis集群添加从节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12800" y="1499235"/>
            <a:ext cx="67843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再查看集群的Redis节点状态，会发现Redis节点的插槽范围发生了变化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45" y="1836420"/>
            <a:ext cx="5248275" cy="3295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12800" y="5132070"/>
            <a:ext cx="67843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至此Redis集群扩展实验已经实现，搭建了一个四主四从的Redis集群，下节进行删除Redis集群节点的实验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22325" y="1499235"/>
            <a:ext cx="53276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本节进行删除Redis集群节点实验，删除Redis集群中新增两个Redis节点，一个Master主节点(端口号为8007)和一个Slave从节点(端口号为8008)。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22325" y="2329180"/>
            <a:ext cx="532828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olidFill>
                  <a:srgbClr val="0000FF"/>
                </a:solidFill>
                <a:sym typeface="+mn-ea"/>
              </a:rPr>
              <a:t>1，删除从节点</a:t>
            </a:r>
            <a:endParaRPr lang="en-US" altLang="zh-CN" sz="1600">
              <a:sym typeface="+mn-ea"/>
            </a:endParaRP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删除Redis集群中的从节点(Slave)使用redis-cli --cluster del-node命令，完整命令如下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45" y="3159125"/>
            <a:ext cx="3876675" cy="1905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9925" y="3349625"/>
            <a:ext cx="571881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删除从节点(192.168.11.15:8008)，需要指定删除的从节点ip和端口，以及节点id,要删除的从节点(192.168.11.15:8008)的id是7ef80fd1ef9a403e39d42cfefa56404f9eb6be73 。删除从节点的完整命令如下所示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845" y="4425950"/>
            <a:ext cx="3857625" cy="361950"/>
          </a:xfrm>
          <a:prstGeom prst="rect">
            <a:avLst/>
          </a:prstGeom>
        </p:spPr>
      </p:pic>
      <p:pic>
        <p:nvPicPr>
          <p:cNvPr id="79" name="图片 7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845" y="4887595"/>
            <a:ext cx="5274310" cy="35052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621780" y="1162050"/>
            <a:ext cx="34804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然后登陆Redis集群，查看集群状态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6075" y="1499235"/>
            <a:ext cx="5314950" cy="30194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21780" y="4618990"/>
            <a:ext cx="53886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从Redis的集群信息可以看出从节点(192.168.11.15:8008)已经从Redis集群中移除，该节点的Redis服务也已被停止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60425" y="149923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olidFill>
                  <a:srgbClr val="0000FF"/>
                </a:solidFill>
                <a:sym typeface="+mn-ea"/>
              </a:rPr>
              <a:t>2，删除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主</a:t>
            </a:r>
            <a:r>
              <a:rPr lang="en-US" altLang="zh-CN">
                <a:solidFill>
                  <a:srgbClr val="0000FF"/>
                </a:solidFill>
                <a:sym typeface="+mn-ea"/>
              </a:rPr>
              <a:t>节点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860425" y="1867218"/>
            <a:ext cx="508000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删除之前加入的Master主节点(192.168.11.15:8007)，这个步骤相对比较麻烦一些，因为主节点的里面是有分配了hash槽的，所以必须先把要删除的主节点里的hash槽放入到其他的可用主节点中去，然后再进行移除节点操作，不然会出现数据丢失问题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60425" y="3189605"/>
            <a:ext cx="508063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删除主节点(192.168.11.15:8007)，要先将主节点的哈希槽分配到其他主节点上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860" y="1152525"/>
            <a:ext cx="5267325" cy="40767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860" y="5334000"/>
            <a:ext cx="4248150" cy="723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41375" y="1498918"/>
            <a:ext cx="5080000" cy="18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以上信息在询问要将多少个哈希槽从Redis集群的主节点(192.168.11.15:8007)上移走，因为主节点8007上刚分配了1500 个哈希槽，所以我们这里输入1500，还要输入接收的主节点(192.168.11.15:8002)的节点id，接收的主节点(192.168.11.15:8002)的节点id是12904463a6c7caa958085e008ad0324213883811，最后输入all然后按回车键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314065"/>
            <a:ext cx="5267325" cy="10572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55650" y="4371340"/>
            <a:ext cx="52419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然后在返回消息中会有消息提示Do you want to proceed with the proposed reshard plan (yes/no)? 询问我们是否允许这个分配哈希槽的计划，输入yes，然后按Enter键继续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给主节点（192.168.11.15:8007）分配哈希槽到其他主节点后，就可以删除主节点（192.168.11.15:8007）了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600" y="1038860"/>
            <a:ext cx="5257800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324600" y="2115185"/>
            <a:ext cx="54330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查看Redis集群信息，可以看到已经没有 192.168.11.15:8007 这个主节点了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600" y="2717800"/>
            <a:ext cx="5314950" cy="2657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242050" y="5454015"/>
            <a:ext cx="551497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从Redis的集群信息可以看出主节点(192.168.11.15:8007)已经从Redis集群中移除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特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555750"/>
            <a:ext cx="10841990" cy="4030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) 同一个Master可以拥有多个Slaves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) Master下的Slave还可以接受同一架构中其它Slave的链接与同步请求，实现数据的级联复制，即Master -&gt; Slave -&gt; Slave模式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) Master以非阻塞的方式同步数据至Slave，这将意味着Master会继续处理一个或多个Slave的读写请求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) 主从复制不会阻塞Master, 当一个或多个Slave与Master进行初次同步数据时，Master可以继续处理Client发来的请求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5) 主从复制具有可扩展性，即多个Slave专门提供只读查询与数据的冗余，Master端专门提供写操作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6) 通过配置禁用Master数据持久化机制，将其数据持久化操作交给Slaves完成，避免在Master中要有独立的进程来完成此操作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</a:t>
            </a:r>
            <a:r>
              <a:rPr lang="zh-CN" altLang="en-US" sz="2400">
                <a:sym typeface="+mn-ea"/>
              </a:rPr>
              <a:t>好处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555750"/>
            <a:ext cx="6226175" cy="115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1) 避免Redis单点故障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2) 做到读写分离，构建读写分离架构，满足读多写少的应用场景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</a:t>
            </a:r>
            <a:r>
              <a:rPr lang="zh-CN" altLang="en-US" sz="2400">
                <a:sym typeface="+mn-ea"/>
              </a:rPr>
              <a:t>原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96925" y="1555750"/>
            <a:ext cx="10598785" cy="401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当启动一个Slave进程后，它会向Master发送一个SYNC 命令，请求同步连接。无论是第一次连接还是重新连接，Master都会启动一个后台进程，将数据快照保存到数据文件中，同时Master会记录所有修改数据的命令并缓存在数据文件中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后台进程完成缓存操作后，Master就发送数据文件给Slave，Slave端将数据文件保存到硬盘上，然后将其在加载到内存中，接着Master就会把所有修改数据的操作，将其发送给Slave端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若Slave出现故障导致宕机，恢复正常后会自动重新连接，Master收到Slave的连接后，将其完整的数据文件发送给Slave，如果Mater同时收到多个Slave发来的同步请求，Master只会在后台启动一个进程保存数据文件，然后将其发送给所有的Slave，确保Slave正常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关于Redis的安装与配置这里不在重复，具体安装请读者考本书的1.2.2在Linux下配置Redis。Redis主从环境使用的服务器资源列表如下，将Redis安装在三台服务器上，三台服务器都是CentOS 7的操作系统。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1001395" y="5489575"/>
            <a:ext cx="17068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主从复制环境</a:t>
            </a:r>
            <a:r>
              <a:rPr lang="zh-CN" altLang="en-US" sz="1600">
                <a:sym typeface="+mn-ea"/>
              </a:rPr>
              <a:t>：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2430145" y="5669915"/>
          <a:ext cx="5266055" cy="619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6355"/>
                <a:gridCol w="1315720"/>
                <a:gridCol w="1317625"/>
                <a:gridCol w="1316355"/>
              </a:tblGrid>
              <a:tr h="15494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rowSpan="3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6379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0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alve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2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lave2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8d7fd13c-4504-499b-a682-b0b1ce509a1c}"/>
  <p:tag name="TABLE_ENDDRAG_ORIGIN_RECT" val="414*48"/>
  <p:tag name="TABLE_ENDDRAG_RECT" val="272*245*414*4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6fa7d4b-b318-4054-88d9-cc2da5b8282c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78dfe99-01bf-4b95-a822-48fed0c4a6e0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ea8e9c2-ee5d-486c-a234-3b1b4e8f633b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ac5c2e85-0a6a-4111-8bf5-047ce6d0aa4b}"/>
  <p:tag name="TABLE_ENDDRAG_ORIGIN_RECT" val="482*172"/>
  <p:tag name="TABLE_ENDDRAG_RECT" val="240*219*482*172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4371</Words>
  <Application>Microsoft Office PowerPoint</Application>
  <PresentationFormat>宽屏</PresentationFormat>
  <Paragraphs>585</Paragraphs>
  <Slides>6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7</vt:i4>
      </vt:variant>
    </vt:vector>
  </HeadingPairs>
  <TitlesOfParts>
    <vt:vector size="76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Wingdings</vt:lpstr>
      <vt:lpstr>主题5</vt:lpstr>
      <vt:lpstr>Redis 6 开发与实战</vt:lpstr>
      <vt:lpstr>PowerPoint 演示文稿</vt:lpstr>
      <vt:lpstr> 第六章 Redis 集群环境部署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91</cp:revision>
  <cp:lastPrinted>2021-11-30T03:01:00Z</cp:lastPrinted>
  <dcterms:created xsi:type="dcterms:W3CDTF">2021-11-30T03:01:00Z</dcterms:created>
  <dcterms:modified xsi:type="dcterms:W3CDTF">2022-03-13T11:5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